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0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emf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B2A2A6-A5F1-5195-F848-01CE2109A2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9FAF35E-F092-B27D-345E-523B681CB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FAF35E-F092-B27D-345E-523B681CB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45DC06-3A56-C03A-8B8A-46801F0A7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110C3F3-8A2C-B5EA-84C9-825675660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D407B4D-3865-759D-130B-89525FFBE598}"/>
              </a:ext>
            </a:extLst>
          </p:cNvPr>
          <p:cNvSpPr/>
          <p:nvPr/>
        </p:nvSpPr>
        <p:spPr>
          <a:xfrm>
            <a:off x="8373878" y="1687977"/>
            <a:ext cx="3119662" cy="2471300"/>
          </a:xfrm>
          <a:custGeom>
            <a:avLst/>
            <a:gdLst>
              <a:gd name="connsiteX0" fmla="*/ 1235650 w 3119662"/>
              <a:gd name="connsiteY0" fmla="*/ 0 h 2471300"/>
              <a:gd name="connsiteX1" fmla="*/ 1601403 w 3119662"/>
              <a:gd name="connsiteY1" fmla="*/ 151500 h 2471300"/>
              <a:gd name="connsiteX2" fmla="*/ 2319800 w 3119662"/>
              <a:gd name="connsiteY2" fmla="*/ 869898 h 2471300"/>
              <a:gd name="connsiteX3" fmla="*/ 2386081 w 3119662"/>
              <a:gd name="connsiteY3" fmla="*/ 951040 h 2471300"/>
              <a:gd name="connsiteX4" fmla="*/ 2403404 w 3119662"/>
              <a:gd name="connsiteY4" fmla="*/ 983959 h 2471300"/>
              <a:gd name="connsiteX5" fmla="*/ 2579332 w 3119662"/>
              <a:gd name="connsiteY5" fmla="*/ 983959 h 2471300"/>
              <a:gd name="connsiteX6" fmla="*/ 2579332 w 3119662"/>
              <a:gd name="connsiteY6" fmla="*/ 732268 h 2471300"/>
              <a:gd name="connsiteX7" fmla="*/ 3119662 w 3119662"/>
              <a:gd name="connsiteY7" fmla="*/ 1235650 h 2471300"/>
              <a:gd name="connsiteX8" fmla="*/ 2579332 w 3119662"/>
              <a:gd name="connsiteY8" fmla="*/ 1739032 h 2471300"/>
              <a:gd name="connsiteX9" fmla="*/ 2579332 w 3119662"/>
              <a:gd name="connsiteY9" fmla="*/ 1487341 h 2471300"/>
              <a:gd name="connsiteX10" fmla="*/ 2403404 w 3119662"/>
              <a:gd name="connsiteY10" fmla="*/ 1487341 h 2471300"/>
              <a:gd name="connsiteX11" fmla="*/ 2386081 w 3119662"/>
              <a:gd name="connsiteY11" fmla="*/ 1520260 h 2471300"/>
              <a:gd name="connsiteX12" fmla="*/ 2319800 w 3119662"/>
              <a:gd name="connsiteY12" fmla="*/ 1601403 h 2471300"/>
              <a:gd name="connsiteX13" fmla="*/ 1601403 w 3119662"/>
              <a:gd name="connsiteY13" fmla="*/ 2319801 h 2471300"/>
              <a:gd name="connsiteX14" fmla="*/ 869897 w 3119662"/>
              <a:gd name="connsiteY14" fmla="*/ 2319801 h 2471300"/>
              <a:gd name="connsiteX15" fmla="*/ 151500 w 3119662"/>
              <a:gd name="connsiteY15" fmla="*/ 1601403 h 2471300"/>
              <a:gd name="connsiteX16" fmla="*/ 151500 w 3119662"/>
              <a:gd name="connsiteY16" fmla="*/ 869898 h 2471300"/>
              <a:gd name="connsiteX17" fmla="*/ 869897 w 3119662"/>
              <a:gd name="connsiteY17" fmla="*/ 151500 h 2471300"/>
              <a:gd name="connsiteX18" fmla="*/ 1235650 w 3119662"/>
              <a:gd name="connsiteY18" fmla="*/ 0 h 247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119662" h="2471300">
                <a:moveTo>
                  <a:pt x="1235650" y="0"/>
                </a:moveTo>
                <a:cubicBezTo>
                  <a:pt x="1368027" y="0"/>
                  <a:pt x="1500403" y="50500"/>
                  <a:pt x="1601403" y="151500"/>
                </a:cubicBezTo>
                <a:lnTo>
                  <a:pt x="2319800" y="869898"/>
                </a:lnTo>
                <a:cubicBezTo>
                  <a:pt x="2345050" y="895148"/>
                  <a:pt x="2367144" y="922359"/>
                  <a:pt x="2386081" y="951040"/>
                </a:cubicBezTo>
                <a:lnTo>
                  <a:pt x="2403404" y="983959"/>
                </a:lnTo>
                <a:lnTo>
                  <a:pt x="2579332" y="983959"/>
                </a:lnTo>
                <a:lnTo>
                  <a:pt x="2579332" y="732268"/>
                </a:lnTo>
                <a:lnTo>
                  <a:pt x="3119662" y="1235650"/>
                </a:lnTo>
                <a:lnTo>
                  <a:pt x="2579332" y="1739032"/>
                </a:lnTo>
                <a:lnTo>
                  <a:pt x="2579332" y="1487341"/>
                </a:lnTo>
                <a:lnTo>
                  <a:pt x="2403404" y="1487341"/>
                </a:lnTo>
                <a:lnTo>
                  <a:pt x="2386081" y="1520260"/>
                </a:lnTo>
                <a:cubicBezTo>
                  <a:pt x="2367144" y="1548942"/>
                  <a:pt x="2345050" y="1576153"/>
                  <a:pt x="2319800" y="1601403"/>
                </a:cubicBezTo>
                <a:lnTo>
                  <a:pt x="1601403" y="2319801"/>
                </a:lnTo>
                <a:cubicBezTo>
                  <a:pt x="1399403" y="2521800"/>
                  <a:pt x="1071897" y="2521800"/>
                  <a:pt x="869897" y="2319801"/>
                </a:cubicBezTo>
                <a:lnTo>
                  <a:pt x="151500" y="1601403"/>
                </a:lnTo>
                <a:cubicBezTo>
                  <a:pt x="-50500" y="1399403"/>
                  <a:pt x="-50500" y="1071897"/>
                  <a:pt x="151500" y="869898"/>
                </a:cubicBezTo>
                <a:lnTo>
                  <a:pt x="869897" y="151500"/>
                </a:lnTo>
                <a:cubicBezTo>
                  <a:pt x="970897" y="50500"/>
                  <a:pt x="1103274" y="0"/>
                  <a:pt x="1235650" y="0"/>
                </a:cubicBezTo>
                <a:close/>
              </a:path>
            </a:pathLst>
          </a:custGeom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2400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E652B2D-2105-BFEB-A968-1841EEE64DE4}"/>
              </a:ext>
            </a:extLst>
          </p:cNvPr>
          <p:cNvSpPr/>
          <p:nvPr/>
        </p:nvSpPr>
        <p:spPr>
          <a:xfrm>
            <a:off x="6351115" y="1687977"/>
            <a:ext cx="3119662" cy="2471300"/>
          </a:xfrm>
          <a:custGeom>
            <a:avLst/>
            <a:gdLst>
              <a:gd name="connsiteX0" fmla="*/ 1235650 w 3119662"/>
              <a:gd name="connsiteY0" fmla="*/ 0 h 2471300"/>
              <a:gd name="connsiteX1" fmla="*/ 1601403 w 3119662"/>
              <a:gd name="connsiteY1" fmla="*/ 151500 h 2471300"/>
              <a:gd name="connsiteX2" fmla="*/ 2319800 w 3119662"/>
              <a:gd name="connsiteY2" fmla="*/ 869898 h 2471300"/>
              <a:gd name="connsiteX3" fmla="*/ 2386081 w 3119662"/>
              <a:gd name="connsiteY3" fmla="*/ 951040 h 2471300"/>
              <a:gd name="connsiteX4" fmla="*/ 2403404 w 3119662"/>
              <a:gd name="connsiteY4" fmla="*/ 983959 h 2471300"/>
              <a:gd name="connsiteX5" fmla="*/ 2579332 w 3119662"/>
              <a:gd name="connsiteY5" fmla="*/ 983959 h 2471300"/>
              <a:gd name="connsiteX6" fmla="*/ 2579332 w 3119662"/>
              <a:gd name="connsiteY6" fmla="*/ 732268 h 2471300"/>
              <a:gd name="connsiteX7" fmla="*/ 3119662 w 3119662"/>
              <a:gd name="connsiteY7" fmla="*/ 1235650 h 2471300"/>
              <a:gd name="connsiteX8" fmla="*/ 2579332 w 3119662"/>
              <a:gd name="connsiteY8" fmla="*/ 1739032 h 2471300"/>
              <a:gd name="connsiteX9" fmla="*/ 2579332 w 3119662"/>
              <a:gd name="connsiteY9" fmla="*/ 1487341 h 2471300"/>
              <a:gd name="connsiteX10" fmla="*/ 2403404 w 3119662"/>
              <a:gd name="connsiteY10" fmla="*/ 1487341 h 2471300"/>
              <a:gd name="connsiteX11" fmla="*/ 2386081 w 3119662"/>
              <a:gd name="connsiteY11" fmla="*/ 1520260 h 2471300"/>
              <a:gd name="connsiteX12" fmla="*/ 2319800 w 3119662"/>
              <a:gd name="connsiteY12" fmla="*/ 1601403 h 2471300"/>
              <a:gd name="connsiteX13" fmla="*/ 1601403 w 3119662"/>
              <a:gd name="connsiteY13" fmla="*/ 2319801 h 2471300"/>
              <a:gd name="connsiteX14" fmla="*/ 869897 w 3119662"/>
              <a:gd name="connsiteY14" fmla="*/ 2319801 h 2471300"/>
              <a:gd name="connsiteX15" fmla="*/ 151500 w 3119662"/>
              <a:gd name="connsiteY15" fmla="*/ 1601403 h 2471300"/>
              <a:gd name="connsiteX16" fmla="*/ 151500 w 3119662"/>
              <a:gd name="connsiteY16" fmla="*/ 869898 h 2471300"/>
              <a:gd name="connsiteX17" fmla="*/ 869897 w 3119662"/>
              <a:gd name="connsiteY17" fmla="*/ 151500 h 2471300"/>
              <a:gd name="connsiteX18" fmla="*/ 1235650 w 3119662"/>
              <a:gd name="connsiteY18" fmla="*/ 0 h 247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119662" h="2471300">
                <a:moveTo>
                  <a:pt x="1235650" y="0"/>
                </a:moveTo>
                <a:cubicBezTo>
                  <a:pt x="1368027" y="0"/>
                  <a:pt x="1500403" y="50500"/>
                  <a:pt x="1601403" y="151500"/>
                </a:cubicBezTo>
                <a:lnTo>
                  <a:pt x="2319800" y="869898"/>
                </a:lnTo>
                <a:cubicBezTo>
                  <a:pt x="2345050" y="895148"/>
                  <a:pt x="2367144" y="922359"/>
                  <a:pt x="2386081" y="951040"/>
                </a:cubicBezTo>
                <a:lnTo>
                  <a:pt x="2403404" y="983959"/>
                </a:lnTo>
                <a:lnTo>
                  <a:pt x="2579332" y="983959"/>
                </a:lnTo>
                <a:lnTo>
                  <a:pt x="2579332" y="732268"/>
                </a:lnTo>
                <a:lnTo>
                  <a:pt x="3119662" y="1235650"/>
                </a:lnTo>
                <a:lnTo>
                  <a:pt x="2579332" y="1739032"/>
                </a:lnTo>
                <a:lnTo>
                  <a:pt x="2579332" y="1487341"/>
                </a:lnTo>
                <a:lnTo>
                  <a:pt x="2403404" y="1487341"/>
                </a:lnTo>
                <a:lnTo>
                  <a:pt x="2386081" y="1520260"/>
                </a:lnTo>
                <a:cubicBezTo>
                  <a:pt x="2367144" y="1548942"/>
                  <a:pt x="2345050" y="1576153"/>
                  <a:pt x="2319800" y="1601403"/>
                </a:cubicBezTo>
                <a:lnTo>
                  <a:pt x="1601403" y="2319801"/>
                </a:lnTo>
                <a:cubicBezTo>
                  <a:pt x="1399403" y="2521800"/>
                  <a:pt x="1071897" y="2521800"/>
                  <a:pt x="869897" y="2319801"/>
                </a:cubicBezTo>
                <a:lnTo>
                  <a:pt x="151500" y="1601403"/>
                </a:lnTo>
                <a:cubicBezTo>
                  <a:pt x="-50500" y="1399403"/>
                  <a:pt x="-50500" y="1071897"/>
                  <a:pt x="151500" y="869898"/>
                </a:cubicBezTo>
                <a:lnTo>
                  <a:pt x="869897" y="151500"/>
                </a:lnTo>
                <a:cubicBezTo>
                  <a:pt x="970897" y="50500"/>
                  <a:pt x="1103274" y="0"/>
                  <a:pt x="1235650" y="0"/>
                </a:cubicBezTo>
                <a:close/>
              </a:path>
            </a:pathLst>
          </a:custGeom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24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1AD36C24-EB77-3BCB-DF83-211C8C591B78}"/>
              </a:ext>
            </a:extLst>
          </p:cNvPr>
          <p:cNvSpPr/>
          <p:nvPr/>
        </p:nvSpPr>
        <p:spPr>
          <a:xfrm>
            <a:off x="4476133" y="1687977"/>
            <a:ext cx="3119662" cy="2471300"/>
          </a:xfrm>
          <a:custGeom>
            <a:avLst/>
            <a:gdLst>
              <a:gd name="connsiteX0" fmla="*/ 1235650 w 3119662"/>
              <a:gd name="connsiteY0" fmla="*/ 0 h 2471300"/>
              <a:gd name="connsiteX1" fmla="*/ 1601403 w 3119662"/>
              <a:gd name="connsiteY1" fmla="*/ 151500 h 2471300"/>
              <a:gd name="connsiteX2" fmla="*/ 2319800 w 3119662"/>
              <a:gd name="connsiteY2" fmla="*/ 869898 h 2471300"/>
              <a:gd name="connsiteX3" fmla="*/ 2386081 w 3119662"/>
              <a:gd name="connsiteY3" fmla="*/ 951040 h 2471300"/>
              <a:gd name="connsiteX4" fmla="*/ 2403404 w 3119662"/>
              <a:gd name="connsiteY4" fmla="*/ 983959 h 2471300"/>
              <a:gd name="connsiteX5" fmla="*/ 2579332 w 3119662"/>
              <a:gd name="connsiteY5" fmla="*/ 983959 h 2471300"/>
              <a:gd name="connsiteX6" fmla="*/ 2579332 w 3119662"/>
              <a:gd name="connsiteY6" fmla="*/ 732268 h 2471300"/>
              <a:gd name="connsiteX7" fmla="*/ 3119662 w 3119662"/>
              <a:gd name="connsiteY7" fmla="*/ 1235650 h 2471300"/>
              <a:gd name="connsiteX8" fmla="*/ 2579332 w 3119662"/>
              <a:gd name="connsiteY8" fmla="*/ 1739032 h 2471300"/>
              <a:gd name="connsiteX9" fmla="*/ 2579332 w 3119662"/>
              <a:gd name="connsiteY9" fmla="*/ 1487341 h 2471300"/>
              <a:gd name="connsiteX10" fmla="*/ 2403404 w 3119662"/>
              <a:gd name="connsiteY10" fmla="*/ 1487341 h 2471300"/>
              <a:gd name="connsiteX11" fmla="*/ 2386081 w 3119662"/>
              <a:gd name="connsiteY11" fmla="*/ 1520260 h 2471300"/>
              <a:gd name="connsiteX12" fmla="*/ 2319800 w 3119662"/>
              <a:gd name="connsiteY12" fmla="*/ 1601403 h 2471300"/>
              <a:gd name="connsiteX13" fmla="*/ 1601403 w 3119662"/>
              <a:gd name="connsiteY13" fmla="*/ 2319801 h 2471300"/>
              <a:gd name="connsiteX14" fmla="*/ 869897 w 3119662"/>
              <a:gd name="connsiteY14" fmla="*/ 2319801 h 2471300"/>
              <a:gd name="connsiteX15" fmla="*/ 151500 w 3119662"/>
              <a:gd name="connsiteY15" fmla="*/ 1601403 h 2471300"/>
              <a:gd name="connsiteX16" fmla="*/ 151500 w 3119662"/>
              <a:gd name="connsiteY16" fmla="*/ 869898 h 2471300"/>
              <a:gd name="connsiteX17" fmla="*/ 869897 w 3119662"/>
              <a:gd name="connsiteY17" fmla="*/ 151500 h 2471300"/>
              <a:gd name="connsiteX18" fmla="*/ 1235650 w 3119662"/>
              <a:gd name="connsiteY18" fmla="*/ 0 h 247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119662" h="2471300">
                <a:moveTo>
                  <a:pt x="1235650" y="0"/>
                </a:moveTo>
                <a:cubicBezTo>
                  <a:pt x="1368027" y="0"/>
                  <a:pt x="1500403" y="50500"/>
                  <a:pt x="1601403" y="151500"/>
                </a:cubicBezTo>
                <a:lnTo>
                  <a:pt x="2319800" y="869898"/>
                </a:lnTo>
                <a:cubicBezTo>
                  <a:pt x="2345050" y="895148"/>
                  <a:pt x="2367144" y="922359"/>
                  <a:pt x="2386081" y="951040"/>
                </a:cubicBezTo>
                <a:lnTo>
                  <a:pt x="2403404" y="983959"/>
                </a:lnTo>
                <a:lnTo>
                  <a:pt x="2579332" y="983959"/>
                </a:lnTo>
                <a:lnTo>
                  <a:pt x="2579332" y="732268"/>
                </a:lnTo>
                <a:lnTo>
                  <a:pt x="3119662" y="1235650"/>
                </a:lnTo>
                <a:lnTo>
                  <a:pt x="2579332" y="1739032"/>
                </a:lnTo>
                <a:lnTo>
                  <a:pt x="2579332" y="1487341"/>
                </a:lnTo>
                <a:lnTo>
                  <a:pt x="2403404" y="1487341"/>
                </a:lnTo>
                <a:lnTo>
                  <a:pt x="2386081" y="1520260"/>
                </a:lnTo>
                <a:cubicBezTo>
                  <a:pt x="2367144" y="1548942"/>
                  <a:pt x="2345050" y="1576153"/>
                  <a:pt x="2319800" y="1601403"/>
                </a:cubicBezTo>
                <a:lnTo>
                  <a:pt x="1601403" y="2319801"/>
                </a:lnTo>
                <a:cubicBezTo>
                  <a:pt x="1399403" y="2521800"/>
                  <a:pt x="1071897" y="2521800"/>
                  <a:pt x="869897" y="2319801"/>
                </a:cubicBezTo>
                <a:lnTo>
                  <a:pt x="151500" y="1601403"/>
                </a:lnTo>
                <a:cubicBezTo>
                  <a:pt x="-50500" y="1399403"/>
                  <a:pt x="-50500" y="1071897"/>
                  <a:pt x="151500" y="869898"/>
                </a:cubicBezTo>
                <a:lnTo>
                  <a:pt x="869897" y="151500"/>
                </a:lnTo>
                <a:cubicBezTo>
                  <a:pt x="970897" y="50500"/>
                  <a:pt x="1103274" y="0"/>
                  <a:pt x="1235650" y="0"/>
                </a:cubicBezTo>
                <a:close/>
              </a:path>
            </a:pathLst>
          </a:custGeom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24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AD3E5A6-973C-9963-A9DD-94A147F28FA0}"/>
              </a:ext>
            </a:extLst>
          </p:cNvPr>
          <p:cNvSpPr/>
          <p:nvPr/>
        </p:nvSpPr>
        <p:spPr>
          <a:xfrm>
            <a:off x="2702751" y="1687977"/>
            <a:ext cx="3119662" cy="2471300"/>
          </a:xfrm>
          <a:custGeom>
            <a:avLst/>
            <a:gdLst>
              <a:gd name="connsiteX0" fmla="*/ 1235650 w 3119662"/>
              <a:gd name="connsiteY0" fmla="*/ 0 h 2471300"/>
              <a:gd name="connsiteX1" fmla="*/ 1601403 w 3119662"/>
              <a:gd name="connsiteY1" fmla="*/ 151500 h 2471300"/>
              <a:gd name="connsiteX2" fmla="*/ 2319800 w 3119662"/>
              <a:gd name="connsiteY2" fmla="*/ 869898 h 2471300"/>
              <a:gd name="connsiteX3" fmla="*/ 2386081 w 3119662"/>
              <a:gd name="connsiteY3" fmla="*/ 951040 h 2471300"/>
              <a:gd name="connsiteX4" fmla="*/ 2403404 w 3119662"/>
              <a:gd name="connsiteY4" fmla="*/ 983959 h 2471300"/>
              <a:gd name="connsiteX5" fmla="*/ 2579332 w 3119662"/>
              <a:gd name="connsiteY5" fmla="*/ 983959 h 2471300"/>
              <a:gd name="connsiteX6" fmla="*/ 2579332 w 3119662"/>
              <a:gd name="connsiteY6" fmla="*/ 732268 h 2471300"/>
              <a:gd name="connsiteX7" fmla="*/ 3119662 w 3119662"/>
              <a:gd name="connsiteY7" fmla="*/ 1235650 h 2471300"/>
              <a:gd name="connsiteX8" fmla="*/ 2579332 w 3119662"/>
              <a:gd name="connsiteY8" fmla="*/ 1739032 h 2471300"/>
              <a:gd name="connsiteX9" fmla="*/ 2579332 w 3119662"/>
              <a:gd name="connsiteY9" fmla="*/ 1487341 h 2471300"/>
              <a:gd name="connsiteX10" fmla="*/ 2403404 w 3119662"/>
              <a:gd name="connsiteY10" fmla="*/ 1487341 h 2471300"/>
              <a:gd name="connsiteX11" fmla="*/ 2386081 w 3119662"/>
              <a:gd name="connsiteY11" fmla="*/ 1520260 h 2471300"/>
              <a:gd name="connsiteX12" fmla="*/ 2319800 w 3119662"/>
              <a:gd name="connsiteY12" fmla="*/ 1601403 h 2471300"/>
              <a:gd name="connsiteX13" fmla="*/ 1601403 w 3119662"/>
              <a:gd name="connsiteY13" fmla="*/ 2319801 h 2471300"/>
              <a:gd name="connsiteX14" fmla="*/ 869897 w 3119662"/>
              <a:gd name="connsiteY14" fmla="*/ 2319801 h 2471300"/>
              <a:gd name="connsiteX15" fmla="*/ 151500 w 3119662"/>
              <a:gd name="connsiteY15" fmla="*/ 1601403 h 2471300"/>
              <a:gd name="connsiteX16" fmla="*/ 151500 w 3119662"/>
              <a:gd name="connsiteY16" fmla="*/ 869898 h 2471300"/>
              <a:gd name="connsiteX17" fmla="*/ 869897 w 3119662"/>
              <a:gd name="connsiteY17" fmla="*/ 151500 h 2471300"/>
              <a:gd name="connsiteX18" fmla="*/ 1235650 w 3119662"/>
              <a:gd name="connsiteY18" fmla="*/ 0 h 247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119662" h="2471300">
                <a:moveTo>
                  <a:pt x="1235650" y="0"/>
                </a:moveTo>
                <a:cubicBezTo>
                  <a:pt x="1368027" y="0"/>
                  <a:pt x="1500403" y="50500"/>
                  <a:pt x="1601403" y="151500"/>
                </a:cubicBezTo>
                <a:lnTo>
                  <a:pt x="2319800" y="869898"/>
                </a:lnTo>
                <a:cubicBezTo>
                  <a:pt x="2345050" y="895148"/>
                  <a:pt x="2367144" y="922359"/>
                  <a:pt x="2386081" y="951040"/>
                </a:cubicBezTo>
                <a:lnTo>
                  <a:pt x="2403404" y="983959"/>
                </a:lnTo>
                <a:lnTo>
                  <a:pt x="2579332" y="983959"/>
                </a:lnTo>
                <a:lnTo>
                  <a:pt x="2579332" y="732268"/>
                </a:lnTo>
                <a:lnTo>
                  <a:pt x="3119662" y="1235650"/>
                </a:lnTo>
                <a:lnTo>
                  <a:pt x="2579332" y="1739032"/>
                </a:lnTo>
                <a:lnTo>
                  <a:pt x="2579332" y="1487341"/>
                </a:lnTo>
                <a:lnTo>
                  <a:pt x="2403404" y="1487341"/>
                </a:lnTo>
                <a:lnTo>
                  <a:pt x="2386081" y="1520260"/>
                </a:lnTo>
                <a:cubicBezTo>
                  <a:pt x="2367144" y="1548942"/>
                  <a:pt x="2345050" y="1576153"/>
                  <a:pt x="2319800" y="1601403"/>
                </a:cubicBezTo>
                <a:lnTo>
                  <a:pt x="1601403" y="2319801"/>
                </a:lnTo>
                <a:cubicBezTo>
                  <a:pt x="1399403" y="2521800"/>
                  <a:pt x="1071897" y="2521800"/>
                  <a:pt x="869897" y="2319801"/>
                </a:cubicBezTo>
                <a:lnTo>
                  <a:pt x="151500" y="1601403"/>
                </a:lnTo>
                <a:cubicBezTo>
                  <a:pt x="-50500" y="1399403"/>
                  <a:pt x="-50500" y="1071897"/>
                  <a:pt x="151500" y="869898"/>
                </a:cubicBezTo>
                <a:lnTo>
                  <a:pt x="869897" y="151500"/>
                </a:lnTo>
                <a:cubicBezTo>
                  <a:pt x="970897" y="50500"/>
                  <a:pt x="1103274" y="0"/>
                  <a:pt x="1235650" y="0"/>
                </a:cubicBezTo>
                <a:close/>
              </a:path>
            </a:pathLst>
          </a:custGeom>
          <a:ln/>
          <a:effectLst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24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8DE6514-955E-5F91-4F77-E6DC797D5595}"/>
              </a:ext>
            </a:extLst>
          </p:cNvPr>
          <p:cNvSpPr/>
          <p:nvPr/>
        </p:nvSpPr>
        <p:spPr>
          <a:xfrm>
            <a:off x="698460" y="1687977"/>
            <a:ext cx="3119662" cy="2471300"/>
          </a:xfrm>
          <a:custGeom>
            <a:avLst/>
            <a:gdLst>
              <a:gd name="connsiteX0" fmla="*/ 1235650 w 3119662"/>
              <a:gd name="connsiteY0" fmla="*/ 0 h 2471300"/>
              <a:gd name="connsiteX1" fmla="*/ 1601403 w 3119662"/>
              <a:gd name="connsiteY1" fmla="*/ 151500 h 2471300"/>
              <a:gd name="connsiteX2" fmla="*/ 2319800 w 3119662"/>
              <a:gd name="connsiteY2" fmla="*/ 869898 h 2471300"/>
              <a:gd name="connsiteX3" fmla="*/ 2386081 w 3119662"/>
              <a:gd name="connsiteY3" fmla="*/ 951040 h 2471300"/>
              <a:gd name="connsiteX4" fmla="*/ 2403404 w 3119662"/>
              <a:gd name="connsiteY4" fmla="*/ 983959 h 2471300"/>
              <a:gd name="connsiteX5" fmla="*/ 2579332 w 3119662"/>
              <a:gd name="connsiteY5" fmla="*/ 983959 h 2471300"/>
              <a:gd name="connsiteX6" fmla="*/ 2579332 w 3119662"/>
              <a:gd name="connsiteY6" fmla="*/ 732268 h 2471300"/>
              <a:gd name="connsiteX7" fmla="*/ 3119662 w 3119662"/>
              <a:gd name="connsiteY7" fmla="*/ 1235650 h 2471300"/>
              <a:gd name="connsiteX8" fmla="*/ 2579332 w 3119662"/>
              <a:gd name="connsiteY8" fmla="*/ 1739032 h 2471300"/>
              <a:gd name="connsiteX9" fmla="*/ 2579332 w 3119662"/>
              <a:gd name="connsiteY9" fmla="*/ 1487341 h 2471300"/>
              <a:gd name="connsiteX10" fmla="*/ 2403404 w 3119662"/>
              <a:gd name="connsiteY10" fmla="*/ 1487341 h 2471300"/>
              <a:gd name="connsiteX11" fmla="*/ 2386081 w 3119662"/>
              <a:gd name="connsiteY11" fmla="*/ 1520260 h 2471300"/>
              <a:gd name="connsiteX12" fmla="*/ 2319800 w 3119662"/>
              <a:gd name="connsiteY12" fmla="*/ 1601403 h 2471300"/>
              <a:gd name="connsiteX13" fmla="*/ 1601403 w 3119662"/>
              <a:gd name="connsiteY13" fmla="*/ 2319801 h 2471300"/>
              <a:gd name="connsiteX14" fmla="*/ 869897 w 3119662"/>
              <a:gd name="connsiteY14" fmla="*/ 2319801 h 2471300"/>
              <a:gd name="connsiteX15" fmla="*/ 151500 w 3119662"/>
              <a:gd name="connsiteY15" fmla="*/ 1601403 h 2471300"/>
              <a:gd name="connsiteX16" fmla="*/ 151500 w 3119662"/>
              <a:gd name="connsiteY16" fmla="*/ 869898 h 2471300"/>
              <a:gd name="connsiteX17" fmla="*/ 869897 w 3119662"/>
              <a:gd name="connsiteY17" fmla="*/ 151500 h 2471300"/>
              <a:gd name="connsiteX18" fmla="*/ 1235650 w 3119662"/>
              <a:gd name="connsiteY18" fmla="*/ 0 h 247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119662" h="2471300">
                <a:moveTo>
                  <a:pt x="1235650" y="0"/>
                </a:moveTo>
                <a:cubicBezTo>
                  <a:pt x="1368027" y="0"/>
                  <a:pt x="1500403" y="50500"/>
                  <a:pt x="1601403" y="151500"/>
                </a:cubicBezTo>
                <a:lnTo>
                  <a:pt x="2319800" y="869898"/>
                </a:lnTo>
                <a:cubicBezTo>
                  <a:pt x="2345050" y="895148"/>
                  <a:pt x="2367144" y="922359"/>
                  <a:pt x="2386081" y="951040"/>
                </a:cubicBezTo>
                <a:lnTo>
                  <a:pt x="2403404" y="983959"/>
                </a:lnTo>
                <a:lnTo>
                  <a:pt x="2579332" y="983959"/>
                </a:lnTo>
                <a:lnTo>
                  <a:pt x="2579332" y="732268"/>
                </a:lnTo>
                <a:lnTo>
                  <a:pt x="3119662" y="1235650"/>
                </a:lnTo>
                <a:lnTo>
                  <a:pt x="2579332" y="1739032"/>
                </a:lnTo>
                <a:lnTo>
                  <a:pt x="2579332" y="1487341"/>
                </a:lnTo>
                <a:lnTo>
                  <a:pt x="2403404" y="1487341"/>
                </a:lnTo>
                <a:lnTo>
                  <a:pt x="2386081" y="1520260"/>
                </a:lnTo>
                <a:cubicBezTo>
                  <a:pt x="2367144" y="1548942"/>
                  <a:pt x="2345050" y="1576153"/>
                  <a:pt x="2319800" y="1601403"/>
                </a:cubicBezTo>
                <a:lnTo>
                  <a:pt x="1601403" y="2319801"/>
                </a:lnTo>
                <a:cubicBezTo>
                  <a:pt x="1399403" y="2521800"/>
                  <a:pt x="1071897" y="2521800"/>
                  <a:pt x="869897" y="2319801"/>
                </a:cubicBezTo>
                <a:lnTo>
                  <a:pt x="151500" y="1601403"/>
                </a:lnTo>
                <a:cubicBezTo>
                  <a:pt x="-50500" y="1399403"/>
                  <a:pt x="-50500" y="1071897"/>
                  <a:pt x="151500" y="869898"/>
                </a:cubicBezTo>
                <a:lnTo>
                  <a:pt x="869897" y="151500"/>
                </a:lnTo>
                <a:cubicBezTo>
                  <a:pt x="970897" y="50500"/>
                  <a:pt x="1103274" y="0"/>
                  <a:pt x="1235650" y="0"/>
                </a:cubicBezTo>
                <a:close/>
              </a:path>
            </a:pathLst>
          </a:custGeom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0" rIns="365760" rtlCol="0" anchor="ctr"/>
          <a:lstStyle/>
          <a:p>
            <a:pPr algn="r"/>
            <a:r>
              <a:rPr lang="en-US" sz="2400" b="1" dirty="0"/>
              <a:t>01</a:t>
            </a:r>
          </a:p>
        </p:txBody>
      </p:sp>
      <p:pic>
        <p:nvPicPr>
          <p:cNvPr id="10" name="Graphic 9" descr="Users">
            <a:extLst>
              <a:ext uri="{FF2B5EF4-FFF2-40B4-BE49-F238E27FC236}">
                <a16:creationId xmlns:a16="http://schemas.microsoft.com/office/drawing/2014/main" id="{1E8ADA16-7610-93D4-95EE-99856FDEB7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59346" y="2466427"/>
            <a:ext cx="914400" cy="914400"/>
          </a:xfrm>
          <a:prstGeom prst="rect">
            <a:avLst/>
          </a:prstGeom>
        </p:spPr>
      </p:pic>
      <p:pic>
        <p:nvPicPr>
          <p:cNvPr id="11" name="Graphic 10" descr="Lightbulb">
            <a:extLst>
              <a:ext uri="{FF2B5EF4-FFF2-40B4-BE49-F238E27FC236}">
                <a16:creationId xmlns:a16="http://schemas.microsoft.com/office/drawing/2014/main" id="{9349EC21-96DA-EA78-0A31-0016D96D0F9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54255" y="2466427"/>
            <a:ext cx="914400" cy="914400"/>
          </a:xfrm>
          <a:prstGeom prst="rect">
            <a:avLst/>
          </a:prstGeom>
        </p:spPr>
      </p:pic>
      <p:pic>
        <p:nvPicPr>
          <p:cNvPr id="12" name="Graphic 11" descr="Magnifying glass">
            <a:extLst>
              <a:ext uri="{FF2B5EF4-FFF2-40B4-BE49-F238E27FC236}">
                <a16:creationId xmlns:a16="http://schemas.microsoft.com/office/drawing/2014/main" id="{4424033A-98D0-AF50-5A14-EE72E6CA526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84164" y="2466427"/>
            <a:ext cx="914400" cy="914400"/>
          </a:xfrm>
          <a:prstGeom prst="rect">
            <a:avLst/>
          </a:prstGeom>
        </p:spPr>
      </p:pic>
      <p:pic>
        <p:nvPicPr>
          <p:cNvPr id="13" name="Graphic 12" descr="Shopping cart">
            <a:extLst>
              <a:ext uri="{FF2B5EF4-FFF2-40B4-BE49-F238E27FC236}">
                <a16:creationId xmlns:a16="http://schemas.microsoft.com/office/drawing/2014/main" id="{2E906C22-47F9-31AB-49C0-AEC40965F2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567758" y="2466427"/>
            <a:ext cx="914400" cy="914400"/>
          </a:xfrm>
          <a:prstGeom prst="rect">
            <a:avLst/>
          </a:prstGeom>
        </p:spPr>
      </p:pic>
      <p:pic>
        <p:nvPicPr>
          <p:cNvPr id="14" name="Graphic 13" descr="Fire">
            <a:extLst>
              <a:ext uri="{FF2B5EF4-FFF2-40B4-BE49-F238E27FC236}">
                <a16:creationId xmlns:a16="http://schemas.microsoft.com/office/drawing/2014/main" id="{1510AADB-8625-DF58-4C41-00A6F3FC88F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95795" y="2466427"/>
            <a:ext cx="914400" cy="9144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67AE6A25-F3C6-E1C7-EE61-1D739A74830D}"/>
              </a:ext>
            </a:extLst>
          </p:cNvPr>
          <p:cNvGrpSpPr/>
          <p:nvPr/>
        </p:nvGrpSpPr>
        <p:grpSpPr>
          <a:xfrm>
            <a:off x="1077490" y="4310103"/>
            <a:ext cx="1678112" cy="736155"/>
            <a:chOff x="332936" y="4652338"/>
            <a:chExt cx="2937088" cy="73615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BE64760-F339-D50D-3D0C-5D778C78DFBA}"/>
                </a:ext>
              </a:extLst>
            </p:cNvPr>
            <p:cNvSpPr txBox="1"/>
            <p:nvPr/>
          </p:nvSpPr>
          <p:spPr>
            <a:xfrm>
              <a:off x="332936" y="4652338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/>
                <a:t>Heading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C218711-7FD6-E72B-A84F-D2A128F978B4}"/>
                </a:ext>
              </a:extLst>
            </p:cNvPr>
            <p:cNvSpPr txBox="1"/>
            <p:nvPr/>
          </p:nvSpPr>
          <p:spPr>
            <a:xfrm>
              <a:off x="340732" y="5111494"/>
              <a:ext cx="2929292" cy="27699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ctr"/>
              <a:r>
                <a:rPr lang="en-US" sz="1200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sert your text here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C474866-E6D0-1611-008D-AA3EC774A64D}"/>
              </a:ext>
            </a:extLst>
          </p:cNvPr>
          <p:cNvGrpSpPr/>
          <p:nvPr/>
        </p:nvGrpSpPr>
        <p:grpSpPr>
          <a:xfrm>
            <a:off x="2990293" y="4310103"/>
            <a:ext cx="1678112" cy="736155"/>
            <a:chOff x="332936" y="4652338"/>
            <a:chExt cx="2937088" cy="73615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EBA3768-ECF7-D1C5-3E36-55A7B5BDF676}"/>
                </a:ext>
              </a:extLst>
            </p:cNvPr>
            <p:cNvSpPr txBox="1"/>
            <p:nvPr/>
          </p:nvSpPr>
          <p:spPr>
            <a:xfrm>
              <a:off x="332936" y="4652338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/>
                <a:t>Heading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071201A-51E3-C657-7280-B9C9438CD24B}"/>
                </a:ext>
              </a:extLst>
            </p:cNvPr>
            <p:cNvSpPr txBox="1"/>
            <p:nvPr/>
          </p:nvSpPr>
          <p:spPr>
            <a:xfrm>
              <a:off x="340732" y="5111494"/>
              <a:ext cx="2929292" cy="27699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ctr"/>
              <a:r>
                <a:rPr lang="en-US" sz="1200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sert your text her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B1D645B-D46B-0237-AFB4-6A90A0826AD3}"/>
              </a:ext>
            </a:extLst>
          </p:cNvPr>
          <p:cNvGrpSpPr/>
          <p:nvPr/>
        </p:nvGrpSpPr>
        <p:grpSpPr>
          <a:xfrm>
            <a:off x="4903096" y="4310103"/>
            <a:ext cx="1678112" cy="736155"/>
            <a:chOff x="332936" y="4652338"/>
            <a:chExt cx="2937088" cy="736155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DC3A03C-31EA-47F4-18F6-332CDF435610}"/>
                </a:ext>
              </a:extLst>
            </p:cNvPr>
            <p:cNvSpPr txBox="1"/>
            <p:nvPr/>
          </p:nvSpPr>
          <p:spPr>
            <a:xfrm>
              <a:off x="332936" y="4652338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/>
                <a:t>Heading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B4BDD8E-11A7-0090-A134-6F24792E6322}"/>
                </a:ext>
              </a:extLst>
            </p:cNvPr>
            <p:cNvSpPr txBox="1"/>
            <p:nvPr/>
          </p:nvSpPr>
          <p:spPr>
            <a:xfrm>
              <a:off x="340732" y="5111494"/>
              <a:ext cx="2929292" cy="27699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ctr"/>
              <a:r>
                <a:rPr lang="en-US" sz="1200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sert your text her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C8C00E1-5D0F-CEF3-12EF-BC057F417125}"/>
              </a:ext>
            </a:extLst>
          </p:cNvPr>
          <p:cNvGrpSpPr/>
          <p:nvPr/>
        </p:nvGrpSpPr>
        <p:grpSpPr>
          <a:xfrm>
            <a:off x="6815899" y="4310103"/>
            <a:ext cx="1678112" cy="736155"/>
            <a:chOff x="332936" y="4652338"/>
            <a:chExt cx="2937088" cy="736155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DD07A6C-0112-49A0-9D89-E2EAAAB250EA}"/>
                </a:ext>
              </a:extLst>
            </p:cNvPr>
            <p:cNvSpPr txBox="1"/>
            <p:nvPr/>
          </p:nvSpPr>
          <p:spPr>
            <a:xfrm>
              <a:off x="332936" y="4652338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/>
                <a:t>Heading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63C8BB6-B611-26E3-3404-AB658A0B5460}"/>
                </a:ext>
              </a:extLst>
            </p:cNvPr>
            <p:cNvSpPr txBox="1"/>
            <p:nvPr/>
          </p:nvSpPr>
          <p:spPr>
            <a:xfrm>
              <a:off x="340732" y="5111494"/>
              <a:ext cx="2929292" cy="27699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ctr"/>
              <a:r>
                <a:rPr lang="en-US" sz="1200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sert your text here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87F7F01-0857-9F35-1EB9-79D90A2C372B}"/>
              </a:ext>
            </a:extLst>
          </p:cNvPr>
          <p:cNvGrpSpPr/>
          <p:nvPr/>
        </p:nvGrpSpPr>
        <p:grpSpPr>
          <a:xfrm>
            <a:off x="8728702" y="4310103"/>
            <a:ext cx="1678112" cy="736155"/>
            <a:chOff x="332936" y="4652338"/>
            <a:chExt cx="2937088" cy="736155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9635AC1-0DB5-E563-99F0-C46C5EFA1238}"/>
                </a:ext>
              </a:extLst>
            </p:cNvPr>
            <p:cNvSpPr txBox="1"/>
            <p:nvPr/>
          </p:nvSpPr>
          <p:spPr>
            <a:xfrm>
              <a:off x="332936" y="4652338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/>
                <a:t>Heading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36EFDB4-302E-AFC4-5E7F-75B2F5ECC1C1}"/>
                </a:ext>
              </a:extLst>
            </p:cNvPr>
            <p:cNvSpPr txBox="1"/>
            <p:nvPr/>
          </p:nvSpPr>
          <p:spPr>
            <a:xfrm>
              <a:off x="340732" y="5111494"/>
              <a:ext cx="2929292" cy="27699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ctr"/>
              <a:r>
                <a:rPr lang="en-US" sz="1200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sert your 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3994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7</TotalTime>
  <Words>32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Proces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73</cp:revision>
  <dcterms:created xsi:type="dcterms:W3CDTF">2021-03-31T02:49:57Z</dcterms:created>
  <dcterms:modified xsi:type="dcterms:W3CDTF">2025-10-15T08:30:29Z</dcterms:modified>
  <cp:category/>
</cp:coreProperties>
</file>